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67" r:id="rId3"/>
    <p:sldId id="371" r:id="rId4"/>
    <p:sldId id="369" r:id="rId5"/>
    <p:sldId id="368" r:id="rId6"/>
  </p:sldIdLst>
  <p:sldSz cx="12192000" cy="6858000"/>
  <p:notesSz cx="6858000" cy="9144000"/>
  <p:embeddedFontLst>
    <p:embeddedFont>
      <p:font typeface="Rubik" panose="00000500000000000000" pitchFamily="50" charset="-79"/>
      <p:regular r:id="rId8"/>
      <p:bold r:id="rId9"/>
      <p:italic r:id="rId10"/>
    </p:embeddedFont>
    <p:embeddedFont>
      <p:font typeface="Trebuchet MS" panose="020B0603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3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53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-96836" y="-5980"/>
            <a:ext cx="12191998" cy="6858000"/>
          </a:xfrm>
        </p:spPr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utopilot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1775520" y="4887000"/>
            <a:ext cx="4223643" cy="3889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KS Pavithra</a:t>
            </a:r>
          </a:p>
          <a:p>
            <a:r>
              <a:rPr lang="en-US" dirty="0"/>
              <a:t>Prasanna SP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pilo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topilot?</a:t>
            </a:r>
          </a:p>
          <a:p>
            <a:endParaRPr lang="en-US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Autopilot is easy-to-use software for multi-channel marketing. The Autopilot REST API allows you to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Send contacts from Autopilot to your app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Add contacts from your app into Autopilo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Trigger Autopilot journeys from your app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Keep unsubscribes in sync between Autopilot and your app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B4151"/>
                </a:solidFill>
                <a:effectLst/>
                <a:latin typeface="-apple-system"/>
              </a:rPr>
              <a:t>Enhance contact profiles with custom fields and data from your app</a:t>
            </a:r>
          </a:p>
          <a:p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pilo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US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nefits of the application</a:t>
            </a:r>
            <a:endParaRPr lang="en-US" sz="1800" b="1" kern="0" dirty="0"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en-US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/>
            <a:r>
              <a:rPr lang="en-US" sz="2000" dirty="0"/>
              <a:t>It is easy to integrate the Autopilot application with other applications.</a:t>
            </a:r>
          </a:p>
          <a:p>
            <a:pPr marL="342900" indent="-342900"/>
            <a:r>
              <a:rPr lang="en-US" sz="2000" dirty="0"/>
              <a:t>Minimal external dependencies on other applications</a:t>
            </a:r>
          </a:p>
          <a:p>
            <a:pPr marL="342900" indent="-342900"/>
            <a:r>
              <a:rPr lang="en-US" sz="2000" dirty="0"/>
              <a:t>Seamless authentication mechanism using API keys </a:t>
            </a:r>
          </a:p>
          <a:p>
            <a:pPr>
              <a:buNone/>
            </a:pP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30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/>
              <a:t>Screenshots for workflow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96A265ED-80A0-487F-B20B-64989188E3C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r>
              <a:rPr lang="en-US" dirty="0"/>
              <a:t>Add Contact to li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9449ABE-58A0-456B-AB80-5B97DD340B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4A282B2-43C0-49AB-B031-EFD838CBF0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</p:spPr>
        <p:txBody>
          <a:bodyPr/>
          <a:lstStyle/>
          <a:p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4BA59B9-7BB3-43F6-B4EE-DA976757B1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764" y="4669529"/>
            <a:ext cx="10882972" cy="147991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97CE618-5428-4ACB-B11D-5A6148AEED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4886" y="1422308"/>
            <a:ext cx="5589284" cy="2962275"/>
          </a:xfrm>
          <a:prstGeom prst="rect">
            <a:avLst/>
          </a:prstGeom>
        </p:spPr>
      </p:pic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968E1383-69DE-4346-A9E3-6D559FB45585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7D5770AA-4427-4795-B750-37856C61C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319" y="1387475"/>
            <a:ext cx="5653843" cy="2451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774</TotalTime>
  <Words>213</Words>
  <Application>Microsoft Office PowerPoint</Application>
  <PresentationFormat>Widescreen</PresentationFormat>
  <Paragraphs>39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Trebuchet MS</vt:lpstr>
      <vt:lpstr>-apple-system</vt:lpstr>
      <vt:lpstr>Arial</vt:lpstr>
      <vt:lpstr>Wingdings</vt:lpstr>
      <vt:lpstr>Rubik</vt:lpstr>
      <vt:lpstr>Symbol</vt:lpstr>
      <vt:lpstr>Software AG 2021</vt:lpstr>
      <vt:lpstr>Autopilot Provider</vt:lpstr>
      <vt:lpstr>Autopilot</vt:lpstr>
      <vt:lpstr>Autopilot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Pavithra, K S</cp:lastModifiedBy>
  <cp:revision>10</cp:revision>
  <dcterms:created xsi:type="dcterms:W3CDTF">2022-01-10T12:32:13Z</dcterms:created>
  <dcterms:modified xsi:type="dcterms:W3CDTF">2022-02-02T15:11:58Z</dcterms:modified>
</cp:coreProperties>
</file>